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7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3</cx:f>
        <cx:lvl ptCount="22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</cx:lvl>
      </cx:strDim>
      <cx:numDim type="val">
        <cx:f>Sheet1!$B$2:$B$23</cx:f>
        <cx:lvl ptCount="22" formatCode="General">
          <cx:pt idx="0">-7</cx:pt>
          <cx:pt idx="1">-10</cx:pt>
          <cx:pt idx="2">-28</cx:pt>
          <cx:pt idx="3">47</cx:pt>
          <cx:pt idx="4">11</cx:pt>
          <cx:pt idx="5">-24</cx:pt>
          <cx:pt idx="6">-24</cx:pt>
          <cx:pt idx="7">36</cx:pt>
          <cx:pt idx="8">10</cx:pt>
          <cx:pt idx="9">-78</cx:pt>
          <cx:pt idx="10">47</cx:pt>
          <cx:pt idx="11">-24</cx:pt>
          <cx:pt idx="12">-17</cx:pt>
          <cx:pt idx="13">-12</cx:pt>
          <cx:pt idx="14">-11</cx:pt>
          <cx:pt idx="15">17</cx:pt>
          <cx:pt idx="16">14</cx:pt>
          <cx:pt idx="17">46</cx:pt>
          <cx:pt idx="18">-18</cx:pt>
          <cx:pt idx="19">19</cx:pt>
          <cx:pt idx="20">-26</cx:pt>
          <cx:pt idx="21">-20</cx:pt>
        </cx:lvl>
      </cx:numDim>
    </cx:data>
    <cx:data id="1">
      <cx:strDim type="cat">
        <cx:f>Sheet1!$A$2:$A$23</cx:f>
        <cx:lvl ptCount="22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</cx:lvl>
      </cx:strDim>
      <cx:numDim type="val">
        <cx:f>Sheet1!$C$2:$C$23</cx:f>
        <cx:lvl ptCount="22" formatCode="General">
          <cx:pt idx="0">-3</cx:pt>
          <cx:pt idx="1">1</cx:pt>
          <cx:pt idx="2">-6</cx:pt>
          <cx:pt idx="3">10</cx:pt>
          <cx:pt idx="4">34</cx:pt>
          <cx:pt idx="5">128</cx:pt>
          <cx:pt idx="6">22</cx:pt>
          <cx:pt idx="7">-12</cx:pt>
          <cx:pt idx="8">-28</cx:pt>
          <cx:pt idx="9">6</cx:pt>
          <cx:pt idx="10">31</cx:pt>
          <cx:pt idx="11">3</cx:pt>
          <cx:pt idx="12">12</cx:pt>
          <cx:pt idx="13">-12</cx:pt>
          <cx:pt idx="14">-13</cx:pt>
          <cx:pt idx="15">6</cx:pt>
          <cx:pt idx="16">15</cx:pt>
          <cx:pt idx="17">41</cx:pt>
          <cx:pt idx="18">16</cx:pt>
          <cx:pt idx="19">10</cx:pt>
          <cx:pt idx="20">23</cx:pt>
          <cx:pt idx="21">16</cx:pt>
        </cx:lvl>
      </cx:numDim>
    </cx:data>
    <cx:data id="2">
      <cx:strDim type="cat">
        <cx:f>Sheet1!$A$2:$A$23</cx:f>
        <cx:lvl ptCount="22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</cx:lvl>
      </cx:strDim>
      <cx:numDim type="val">
        <cx:f>Sheet1!$D$2:$D$23</cx:f>
        <cx:lvl ptCount="22" formatCode="General">
          <cx:pt idx="0">-24</cx:pt>
          <cx:pt idx="1">11</cx:pt>
          <cx:pt idx="2">34</cx:pt>
          <cx:pt idx="3">-19</cx:pt>
          <cx:pt idx="4">4</cx:pt>
          <cx:pt idx="5">27</cx:pt>
          <cx:pt idx="6">27</cx:pt>
          <cx:pt idx="7">-3</cx:pt>
          <cx:pt idx="8">44</cx:pt>
          <cx:pt idx="9">50</cx:pt>
          <cx:pt idx="10">91</cx:pt>
          <cx:pt idx="11">-8</cx:pt>
          <cx:pt idx="12">36</cx:pt>
          <cx:pt idx="13">16</cx:pt>
          <cx:pt idx="14">24</cx:pt>
          <cx:pt idx="15">46</cx:pt>
          <cx:pt idx="16">14</cx:pt>
          <cx:pt idx="17">-6</cx:pt>
          <cx:pt idx="18">48</cx:pt>
          <cx:pt idx="19">23</cx:pt>
          <cx:pt idx="20">23</cx:pt>
          <cx:pt idx="21">-18</cx:pt>
        </cx:lvl>
      </cx:numDim>
    </cx:data>
  </cx:chartData>
  <cx:chart>
    <cx:plotArea>
      <cx:plotAreaRegion>
        <cx:series layoutId="boxWhisker" uniqueId="{41E0445B-9A30-4555-837C-18F605257E93}">
          <cx:tx>
            <cx:txData>
              <cx:f>Sheet1!$B$1</cx:f>
              <cx:v>Series1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  <cx:series layoutId="boxWhisker" uniqueId="{AF3996C6-A7E8-4FE6-9AF0-D2F7FF692A89}">
          <cx:tx>
            <cx:txData>
              <cx:f>Sheet1!$C$1</cx:f>
              <cx:v>Series2</cx:v>
            </cx:txData>
          </cx:tx>
          <cx:dataId val="1"/>
          <cx:layoutPr>
            <cx:visibility meanLine="0" meanMarker="1" nonoutliers="0" outliers="1"/>
            <cx:statistics quartileMethod="exclusive"/>
          </cx:layoutPr>
        </cx:series>
        <cx:series layoutId="boxWhisker" uniqueId="{F74ECFA5-46FF-4F14-A5E7-9860FA54E3D3}">
          <cx:tx>
            <cx:txData>
              <cx:f>Sheet1!$D$1</cx:f>
              <cx:v>Series3</cx:v>
            </cx:txData>
          </cx:tx>
          <cx:dataId val="2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majorGridlines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Relationship Id="rId6" Type="http://schemas.openxmlformats.org/officeDocument/2006/relationships/image" Target="../media/image29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A3C6F-6ACA-E09C-F82B-7617A993B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4FF3A07-99FA-9EA6-65F7-ABBF7E6980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F3A07-99FA-9EA6-65F7-ABBF7E698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0BE79FEB-E9E0-2996-91E6-8016D16BC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Box / Whiske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7549E75-2E8A-6401-07C3-C7D43BEBB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2859BC2-D8EB-D268-AB04-9E62DF569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D880CAF-7B60-93BC-F2AC-99F76B8513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Placeholder 6">
                <a:extLst>
                  <a:ext uri="{FF2B5EF4-FFF2-40B4-BE49-F238E27FC236}">
                    <a16:creationId xmlns:a16="http://schemas.microsoft.com/office/drawing/2014/main" id="{38B3B41C-F6DE-B96E-8C84-DF1FEE549B86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11083925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Chart Placeholder 6">
                <a:extLst>
                  <a:ext uri="{FF2B5EF4-FFF2-40B4-BE49-F238E27FC236}">
                    <a16:creationId xmlns:a16="http://schemas.microsoft.com/office/drawing/2014/main" id="{38B3B41C-F6DE-B96E-8C84-DF1FEE549B8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11083925" cy="445611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00793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4</TotalTime>
  <Words>15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Box / Whisk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61</cp:revision>
  <dcterms:created xsi:type="dcterms:W3CDTF">2025-07-09T10:57:17Z</dcterms:created>
  <dcterms:modified xsi:type="dcterms:W3CDTF">2025-10-22T09:49:19Z</dcterms:modified>
  <cp:category/>
</cp:coreProperties>
</file>